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60" r:id="rId2"/>
  </p:sldIdLst>
  <p:sldSz cx="12192000" cy="6858000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Ineke Koornstra" initials="IK" lastIdx="1" clrIdx="0">
    <p:extLst>
      <p:ext uri="{19B8F6BF-5375-455C-9EA6-DF929625EA0E}">
        <p15:presenceInfo xmlns:p15="http://schemas.microsoft.com/office/powerpoint/2012/main" userId="S-1-5-21-81265964-885084165-2833831485-157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>
      <p:cViewPr varScale="1">
        <p:scale>
          <a:sx n="66" d="100"/>
          <a:sy n="66" d="100"/>
        </p:scale>
        <p:origin x="672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tags" Target="tags/tag1.xml"/><Relationship Id="rId7" Type="http://schemas.openxmlformats.org/officeDocument/2006/relationships/theme" Target="theme/theme1.xml"/><Relationship Id="rId12" Type="http://schemas.openxmlformats.org/officeDocument/2006/relationships/customXml" Target="../customXml/item3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11" Type="http://schemas.openxmlformats.org/officeDocument/2006/relationships/customXml" Target="../customXml/item2.xml"/><Relationship Id="rId5" Type="http://schemas.openxmlformats.org/officeDocument/2006/relationships/presProps" Target="presProps.xml"/><Relationship Id="rId10" Type="http://schemas.openxmlformats.org/officeDocument/2006/relationships/customXml" Target="../customXml/item1.xml"/><Relationship Id="rId4" Type="http://schemas.openxmlformats.org/officeDocument/2006/relationships/commentAuthors" Target="commentAuthors.xml"/><Relationship Id="rId9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Ineke Koornstra" userId="1f5ba414-0305-4ce6-8872-3fd6495f8b4e" providerId="ADAL" clId="{9456F911-836F-4CBA-9123-C90BE74C6CF9}"/>
    <pc:docChg chg="custSel delSld modSld">
      <pc:chgData name="Ineke Koornstra" userId="1f5ba414-0305-4ce6-8872-3fd6495f8b4e" providerId="ADAL" clId="{9456F911-836F-4CBA-9123-C90BE74C6CF9}" dt="2018-10-25T12:32:13.489" v="317" actId="2696"/>
      <pc:docMkLst>
        <pc:docMk/>
      </pc:docMkLst>
      <pc:sldChg chg="del">
        <pc:chgData name="Ineke Koornstra" userId="1f5ba414-0305-4ce6-8872-3fd6495f8b4e" providerId="ADAL" clId="{9456F911-836F-4CBA-9123-C90BE74C6CF9}" dt="2018-10-25T12:32:13.489" v="317" actId="2696"/>
        <pc:sldMkLst>
          <pc:docMk/>
          <pc:sldMk cId="2916154996" sldId="258"/>
        </pc:sldMkLst>
      </pc:sldChg>
      <pc:sldChg chg="addSp delSp modSp addCm delCm">
        <pc:chgData name="Ineke Koornstra" userId="1f5ba414-0305-4ce6-8872-3fd6495f8b4e" providerId="ADAL" clId="{9456F911-836F-4CBA-9123-C90BE74C6CF9}" dt="2018-10-25T12:26:31.898" v="316" actId="313"/>
        <pc:sldMkLst>
          <pc:docMk/>
          <pc:sldMk cId="3068904171" sldId="260"/>
        </pc:sldMkLst>
        <pc:spChg chg="del mod">
          <ac:chgData name="Ineke Koornstra" userId="1f5ba414-0305-4ce6-8872-3fd6495f8b4e" providerId="ADAL" clId="{9456F911-836F-4CBA-9123-C90BE74C6CF9}" dt="2018-10-25T09:47:17.311" v="156" actId="14100"/>
          <ac:spMkLst>
            <pc:docMk/>
            <pc:sldMk cId="3068904171" sldId="260"/>
            <ac:spMk id="4" creationId="{864A594D-EC34-4A22-9EC8-A054639AF07F}"/>
          </ac:spMkLst>
        </pc:spChg>
        <pc:spChg chg="mod">
          <ac:chgData name="Ineke Koornstra" userId="1f5ba414-0305-4ce6-8872-3fd6495f8b4e" providerId="ADAL" clId="{9456F911-836F-4CBA-9123-C90BE74C6CF9}" dt="2018-10-25T12:26:31.898" v="316" actId="313"/>
          <ac:spMkLst>
            <pc:docMk/>
            <pc:sldMk cId="3068904171" sldId="260"/>
            <ac:spMk id="10" creationId="{00000000-0000-0000-0000-000000000000}"/>
          </ac:spMkLst>
        </pc:spChg>
        <pc:spChg chg="mod">
          <ac:chgData name="Ineke Koornstra" userId="1f5ba414-0305-4ce6-8872-3fd6495f8b4e" providerId="ADAL" clId="{9456F911-836F-4CBA-9123-C90BE74C6CF9}" dt="2018-10-25T09:41:56.268" v="99" actId="20577"/>
          <ac:spMkLst>
            <pc:docMk/>
            <pc:sldMk cId="3068904171" sldId="260"/>
            <ac:spMk id="31" creationId="{3BA4860E-6059-4DA6-826E-7051C21136B9}"/>
          </ac:spMkLst>
        </pc:spChg>
        <pc:spChg chg="mod">
          <ac:chgData name="Ineke Koornstra" userId="1f5ba414-0305-4ce6-8872-3fd6495f8b4e" providerId="ADAL" clId="{9456F911-836F-4CBA-9123-C90BE74C6CF9}" dt="2018-10-25T09:46:34.446" v="136" actId="20577"/>
          <ac:spMkLst>
            <pc:docMk/>
            <pc:sldMk cId="3068904171" sldId="260"/>
            <ac:spMk id="47" creationId="{00000000-0000-0000-0000-000000000000}"/>
          </ac:spMkLst>
        </pc:spChg>
        <pc:spChg chg="mod">
          <ac:chgData name="Ineke Koornstra" userId="1f5ba414-0305-4ce6-8872-3fd6495f8b4e" providerId="ADAL" clId="{9456F911-836F-4CBA-9123-C90BE74C6CF9}" dt="2018-10-25T09:46:49.114" v="155" actId="20577"/>
          <ac:spMkLst>
            <pc:docMk/>
            <pc:sldMk cId="3068904171" sldId="260"/>
            <ac:spMk id="48" creationId="{00000000-0000-0000-0000-000000000000}"/>
          </ac:spMkLst>
        </pc:spChg>
        <pc:spChg chg="mod">
          <ac:chgData name="Ineke Koornstra" userId="1f5ba414-0305-4ce6-8872-3fd6495f8b4e" providerId="ADAL" clId="{9456F911-836F-4CBA-9123-C90BE74C6CF9}" dt="2018-10-25T09:34:31.632" v="6" actId="20577"/>
          <ac:spMkLst>
            <pc:docMk/>
            <pc:sldMk cId="3068904171" sldId="260"/>
            <ac:spMk id="52" creationId="{5ED74DBB-EADB-40E1-BA87-A88FFB554F5B}"/>
          </ac:spMkLst>
        </pc:spChg>
        <pc:spChg chg="mod">
          <ac:chgData name="Ineke Koornstra" userId="1f5ba414-0305-4ce6-8872-3fd6495f8b4e" providerId="ADAL" clId="{9456F911-836F-4CBA-9123-C90BE74C6CF9}" dt="2018-10-25T09:36:20.422" v="12" actId="20577"/>
          <ac:spMkLst>
            <pc:docMk/>
            <pc:sldMk cId="3068904171" sldId="260"/>
            <ac:spMk id="53" creationId="{F6C5AF50-9164-42F5-A9B5-E1F335949ED6}"/>
          </ac:spMkLst>
        </pc:spChg>
        <pc:spChg chg="mod">
          <ac:chgData name="Ineke Koornstra" userId="1f5ba414-0305-4ce6-8872-3fd6495f8b4e" providerId="ADAL" clId="{9456F911-836F-4CBA-9123-C90BE74C6CF9}" dt="2018-10-25T09:38:55.683" v="24" actId="20577"/>
          <ac:spMkLst>
            <pc:docMk/>
            <pc:sldMk cId="3068904171" sldId="260"/>
            <ac:spMk id="60" creationId="{00000000-0000-0000-0000-000000000000}"/>
          </ac:spMkLst>
        </pc:spChg>
        <pc:spChg chg="mod">
          <ac:chgData name="Ineke Koornstra" userId="1f5ba414-0305-4ce6-8872-3fd6495f8b4e" providerId="ADAL" clId="{9456F911-836F-4CBA-9123-C90BE74C6CF9}" dt="2018-10-25T09:43:41.650" v="124" actId="20577"/>
          <ac:spMkLst>
            <pc:docMk/>
            <pc:sldMk cId="3068904171" sldId="260"/>
            <ac:spMk id="85" creationId="{00000000-0000-0000-0000-000000000000}"/>
          </ac:spMkLst>
        </pc:spChg>
        <pc:spChg chg="mod">
          <ac:chgData name="Ineke Koornstra" userId="1f5ba414-0305-4ce6-8872-3fd6495f8b4e" providerId="ADAL" clId="{9456F911-836F-4CBA-9123-C90BE74C6CF9}" dt="2018-10-25T09:36:30.498" v="17" actId="20577"/>
          <ac:spMkLst>
            <pc:docMk/>
            <pc:sldMk cId="3068904171" sldId="260"/>
            <ac:spMk id="96" creationId="{1533CFCC-1772-4272-AA55-FC888E9A82BC}"/>
          </ac:spMkLst>
        </pc:spChg>
        <pc:picChg chg="add del mod">
          <ac:chgData name="Ineke Koornstra" userId="1f5ba414-0305-4ce6-8872-3fd6495f8b4e" providerId="ADAL" clId="{9456F911-836F-4CBA-9123-C90BE74C6CF9}" dt="2018-10-25T11:02:22.799" v="168" actId="554"/>
          <ac:picMkLst>
            <pc:docMk/>
            <pc:sldMk cId="3068904171" sldId="260"/>
            <ac:picMk id="3" creationId="{8413073D-DC8A-48E5-82C8-DC13DAC2738B}"/>
          </ac:picMkLst>
        </pc:picChg>
        <pc:picChg chg="add mod">
          <ac:chgData name="Ineke Koornstra" userId="1f5ba414-0305-4ce6-8872-3fd6495f8b4e" providerId="ADAL" clId="{9456F911-836F-4CBA-9123-C90BE74C6CF9}" dt="2018-10-25T11:05:30.458" v="294" actId="554"/>
          <ac:picMkLst>
            <pc:docMk/>
            <pc:sldMk cId="3068904171" sldId="260"/>
            <ac:picMk id="6" creationId="{0FE26685-10D0-45E2-A339-A08CC66B1D04}"/>
          </ac:picMkLst>
        </pc:picChg>
        <pc:cxnChg chg="mod">
          <ac:chgData name="Ineke Koornstra" userId="1f5ba414-0305-4ce6-8872-3fd6495f8b4e" providerId="ADAL" clId="{9456F911-836F-4CBA-9123-C90BE74C6CF9}" dt="2018-10-25T09:48:09.502" v="158" actId="14100"/>
          <ac:cxnSpMkLst>
            <pc:docMk/>
            <pc:sldMk cId="3068904171" sldId="260"/>
            <ac:cxnSpMk id="34" creationId="{39F0842E-AC94-421E-B277-ACD2D4DC756E}"/>
          </ac:cxnSpMkLst>
        </pc:cxnChg>
        <pc:cxnChg chg="mod">
          <ac:chgData name="Ineke Koornstra" userId="1f5ba414-0305-4ce6-8872-3fd6495f8b4e" providerId="ADAL" clId="{9456F911-836F-4CBA-9123-C90BE74C6CF9}" dt="2018-10-25T09:48:24.279" v="159" actId="14100"/>
          <ac:cxnSpMkLst>
            <pc:docMk/>
            <pc:sldMk cId="3068904171" sldId="260"/>
            <ac:cxnSpMk id="39" creationId="{AC33EDA4-F247-4355-BA3E-2596DA2AB69A}"/>
          </ac:cxnSpMkLst>
        </pc:cxnChg>
        <pc:cxnChg chg="mod">
          <ac:chgData name="Ineke Koornstra" userId="1f5ba414-0305-4ce6-8872-3fd6495f8b4e" providerId="ADAL" clId="{9456F911-836F-4CBA-9123-C90BE74C6CF9}" dt="2018-10-25T09:38:42.296" v="22" actId="14100"/>
          <ac:cxnSpMkLst>
            <pc:docMk/>
            <pc:sldMk cId="3068904171" sldId="260"/>
            <ac:cxnSpMk id="57" creationId="{00000000-0000-0000-0000-000000000000}"/>
          </ac:cxnSpMkLst>
        </pc:cxn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6" indent="0" algn="ctr">
              <a:buNone/>
              <a:defRPr sz="2000"/>
            </a:lvl2pPr>
            <a:lvl3pPr marL="914411" indent="0" algn="ctr">
              <a:buNone/>
              <a:defRPr sz="1800"/>
            </a:lvl3pPr>
            <a:lvl4pPr marL="1371617" indent="0" algn="ctr">
              <a:buNone/>
              <a:defRPr sz="1600"/>
            </a:lvl4pPr>
            <a:lvl5pPr marL="1828823" indent="0" algn="ctr">
              <a:buNone/>
              <a:defRPr sz="1600"/>
            </a:lvl5pPr>
            <a:lvl6pPr marL="2286029" indent="0" algn="ctr">
              <a:buNone/>
              <a:defRPr sz="1600"/>
            </a:lvl6pPr>
            <a:lvl7pPr marL="2743234" indent="0" algn="ctr">
              <a:buNone/>
              <a:defRPr sz="1600"/>
            </a:lvl7pPr>
            <a:lvl8pPr marL="3200440" indent="0" algn="ctr">
              <a:buNone/>
              <a:defRPr sz="1600"/>
            </a:lvl8pPr>
            <a:lvl9pPr marL="3657646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C58C6F-8AAA-40A3-A9A6-8F1B85DC8C2A}" type="datetimeFigureOut">
              <a:rPr lang="en-US" smtClean="0"/>
              <a:t>10/25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3DBB30-D03D-40D6-B407-D133D938B42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34076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C58C6F-8AAA-40A3-A9A6-8F1B85DC8C2A}" type="datetimeFigureOut">
              <a:rPr lang="en-US" smtClean="0"/>
              <a:t>10/25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3DBB30-D03D-40D6-B407-D133D938B42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15777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899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199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C58C6F-8AAA-40A3-A9A6-8F1B85DC8C2A}" type="datetimeFigureOut">
              <a:rPr lang="en-US" smtClean="0"/>
              <a:t>10/25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3DBB30-D03D-40D6-B407-D133D938B42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0578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C58C6F-8AAA-40A3-A9A6-8F1B85DC8C2A}" type="datetimeFigureOut">
              <a:rPr lang="en-US" smtClean="0"/>
              <a:t>10/25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3DBB30-D03D-40D6-B407-D133D938B42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93015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2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2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11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2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3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C58C6F-8AAA-40A3-A9A6-8F1B85DC8C2A}" type="datetimeFigureOut">
              <a:rPr lang="en-US" smtClean="0"/>
              <a:t>10/25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3DBB30-D03D-40D6-B407-D133D938B42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4839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1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1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C58C6F-8AAA-40A3-A9A6-8F1B85DC8C2A}" type="datetimeFigureOut">
              <a:rPr lang="en-US" smtClean="0"/>
              <a:t>10/25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3DBB30-D03D-40D6-B407-D133D938B42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97577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6" indent="0">
              <a:buNone/>
              <a:defRPr sz="2000" b="1"/>
            </a:lvl2pPr>
            <a:lvl3pPr marL="914411" indent="0">
              <a:buNone/>
              <a:defRPr sz="1800" b="1"/>
            </a:lvl3pPr>
            <a:lvl4pPr marL="1371617" indent="0">
              <a:buNone/>
              <a:defRPr sz="1600" b="1"/>
            </a:lvl4pPr>
            <a:lvl5pPr marL="1828823" indent="0">
              <a:buNone/>
              <a:defRPr sz="1600" b="1"/>
            </a:lvl5pPr>
            <a:lvl6pPr marL="2286029" indent="0">
              <a:buNone/>
              <a:defRPr sz="1600" b="1"/>
            </a:lvl6pPr>
            <a:lvl7pPr marL="2743234" indent="0">
              <a:buNone/>
              <a:defRPr sz="1600" b="1"/>
            </a:lvl7pPr>
            <a:lvl8pPr marL="3200440" indent="0">
              <a:buNone/>
              <a:defRPr sz="1600" b="1"/>
            </a:lvl8pPr>
            <a:lvl9pPr marL="36576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9" y="2505076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2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6" indent="0">
              <a:buNone/>
              <a:defRPr sz="2000" b="1"/>
            </a:lvl2pPr>
            <a:lvl3pPr marL="914411" indent="0">
              <a:buNone/>
              <a:defRPr sz="1800" b="1"/>
            </a:lvl3pPr>
            <a:lvl4pPr marL="1371617" indent="0">
              <a:buNone/>
              <a:defRPr sz="1600" b="1"/>
            </a:lvl4pPr>
            <a:lvl5pPr marL="1828823" indent="0">
              <a:buNone/>
              <a:defRPr sz="1600" b="1"/>
            </a:lvl5pPr>
            <a:lvl6pPr marL="2286029" indent="0">
              <a:buNone/>
              <a:defRPr sz="1600" b="1"/>
            </a:lvl6pPr>
            <a:lvl7pPr marL="2743234" indent="0">
              <a:buNone/>
              <a:defRPr sz="1600" b="1"/>
            </a:lvl7pPr>
            <a:lvl8pPr marL="3200440" indent="0">
              <a:buNone/>
              <a:defRPr sz="1600" b="1"/>
            </a:lvl8pPr>
            <a:lvl9pPr marL="3657646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2" y="2505076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C58C6F-8AAA-40A3-A9A6-8F1B85DC8C2A}" type="datetimeFigureOut">
              <a:rPr lang="en-US" smtClean="0"/>
              <a:t>10/25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3DBB30-D03D-40D6-B407-D133D938B42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68283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C58C6F-8AAA-40A3-A9A6-8F1B85DC8C2A}" type="datetimeFigureOut">
              <a:rPr lang="en-US" smtClean="0"/>
              <a:t>10/25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3DBB30-D03D-40D6-B407-D133D938B42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72096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C58C6F-8AAA-40A3-A9A6-8F1B85DC8C2A}" type="datetimeFigureOut">
              <a:rPr lang="en-US" smtClean="0"/>
              <a:t>10/25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3DBB30-D03D-40D6-B407-D133D938B42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03858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6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1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36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6" indent="0">
              <a:buNone/>
              <a:defRPr sz="1400"/>
            </a:lvl2pPr>
            <a:lvl3pPr marL="914411" indent="0">
              <a:buNone/>
              <a:defRPr sz="1200"/>
            </a:lvl3pPr>
            <a:lvl4pPr marL="1371617" indent="0">
              <a:buNone/>
              <a:defRPr sz="1000"/>
            </a:lvl4pPr>
            <a:lvl5pPr marL="1828823" indent="0">
              <a:buNone/>
              <a:defRPr sz="1000"/>
            </a:lvl5pPr>
            <a:lvl6pPr marL="2286029" indent="0">
              <a:buNone/>
              <a:defRPr sz="1000"/>
            </a:lvl6pPr>
            <a:lvl7pPr marL="2743234" indent="0">
              <a:buNone/>
              <a:defRPr sz="1000"/>
            </a:lvl7pPr>
            <a:lvl8pPr marL="3200440" indent="0">
              <a:buNone/>
              <a:defRPr sz="1000"/>
            </a:lvl8pPr>
            <a:lvl9pPr marL="365764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C58C6F-8AAA-40A3-A9A6-8F1B85DC8C2A}" type="datetimeFigureOut">
              <a:rPr lang="en-US" smtClean="0"/>
              <a:t>10/25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3DBB30-D03D-40D6-B407-D133D938B42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6359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90" y="457200"/>
            <a:ext cx="3932236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1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6" indent="0">
              <a:buNone/>
              <a:defRPr sz="2800"/>
            </a:lvl2pPr>
            <a:lvl3pPr marL="914411" indent="0">
              <a:buNone/>
              <a:defRPr sz="2400"/>
            </a:lvl3pPr>
            <a:lvl4pPr marL="1371617" indent="0">
              <a:buNone/>
              <a:defRPr sz="2000"/>
            </a:lvl4pPr>
            <a:lvl5pPr marL="1828823" indent="0">
              <a:buNone/>
              <a:defRPr sz="2000"/>
            </a:lvl5pPr>
            <a:lvl6pPr marL="2286029" indent="0">
              <a:buNone/>
              <a:defRPr sz="2000"/>
            </a:lvl6pPr>
            <a:lvl7pPr marL="2743234" indent="0">
              <a:buNone/>
              <a:defRPr sz="2000"/>
            </a:lvl7pPr>
            <a:lvl8pPr marL="3200440" indent="0">
              <a:buNone/>
              <a:defRPr sz="2000"/>
            </a:lvl8pPr>
            <a:lvl9pPr marL="3657646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90" y="2057400"/>
            <a:ext cx="3932236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6" indent="0">
              <a:buNone/>
              <a:defRPr sz="1400"/>
            </a:lvl2pPr>
            <a:lvl3pPr marL="914411" indent="0">
              <a:buNone/>
              <a:defRPr sz="1200"/>
            </a:lvl3pPr>
            <a:lvl4pPr marL="1371617" indent="0">
              <a:buNone/>
              <a:defRPr sz="1000"/>
            </a:lvl4pPr>
            <a:lvl5pPr marL="1828823" indent="0">
              <a:buNone/>
              <a:defRPr sz="1000"/>
            </a:lvl5pPr>
            <a:lvl6pPr marL="2286029" indent="0">
              <a:buNone/>
              <a:defRPr sz="1000"/>
            </a:lvl6pPr>
            <a:lvl7pPr marL="2743234" indent="0">
              <a:buNone/>
              <a:defRPr sz="1000"/>
            </a:lvl7pPr>
            <a:lvl8pPr marL="3200440" indent="0">
              <a:buNone/>
              <a:defRPr sz="1000"/>
            </a:lvl8pPr>
            <a:lvl9pPr marL="3657646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C58C6F-8AAA-40A3-A9A6-8F1B85DC8C2A}" type="datetimeFigureOut">
              <a:rPr lang="en-US" smtClean="0"/>
              <a:t>10/25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A3DBB30-D03D-40D6-B407-D133D938B42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25233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2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2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1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4C58C6F-8AAA-40A3-A9A6-8F1B85DC8C2A}" type="datetimeFigureOut">
              <a:rPr lang="en-US" smtClean="0"/>
              <a:t>10/25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2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1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3DBB30-D03D-40D6-B407-D133D938B42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7472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11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3" indent="-228603" algn="l" defTabSz="91441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8" indent="-228603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14" indent="-228603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20" indent="-228603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26" indent="-228603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32" indent="-228603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37" indent="-228603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43" indent="-228603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48" indent="-228603" algn="l" defTabSz="91441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6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11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17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23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29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34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40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46" algn="l" defTabSz="91441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1F3DA79-58CD-4175-84EB-6EA7576267B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471" imgH="472" progId="TCLayout.ActiveDocument.1">
                  <p:embed/>
                </p:oleObj>
              </mc:Choice>
              <mc:Fallback>
                <p:oleObj name="think-cell Slide" r:id="rId4" imgW="471" imgH="47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1F3DA79-58CD-4175-84EB-6EA7576267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id="{39F0842E-AC94-421E-B277-ACD2D4DC756E}"/>
              </a:ext>
            </a:extLst>
          </p:cNvPr>
          <p:cNvCxnSpPr>
            <a:cxnSpLocks/>
          </p:cNvCxnSpPr>
          <p:nvPr/>
        </p:nvCxnSpPr>
        <p:spPr>
          <a:xfrm flipH="1">
            <a:off x="3179677" y="5030898"/>
            <a:ext cx="3399618" cy="9308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lowchart: Alternate Process 8"/>
          <p:cNvSpPr/>
          <p:nvPr/>
        </p:nvSpPr>
        <p:spPr>
          <a:xfrm>
            <a:off x="5184415" y="538092"/>
            <a:ext cx="1260140" cy="720080"/>
          </a:xfrm>
          <a:prstGeom prst="flowChartAlternateProcess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100" dirty="0"/>
              <a:t>Inschrijving kandidaat SOG gasmeten</a:t>
            </a:r>
          </a:p>
        </p:txBody>
      </p:sp>
      <p:sp>
        <p:nvSpPr>
          <p:cNvPr id="10" name="Flowchart: Decision 9"/>
          <p:cNvSpPr/>
          <p:nvPr/>
        </p:nvSpPr>
        <p:spPr>
          <a:xfrm>
            <a:off x="4851377" y="1606233"/>
            <a:ext cx="1926214" cy="774086"/>
          </a:xfrm>
          <a:prstGeom prst="flowChartDecision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000" dirty="0"/>
              <a:t>VCA-diploma CDR ? Of gelijkwaardig?</a:t>
            </a:r>
          </a:p>
        </p:txBody>
      </p:sp>
      <p:cxnSp>
        <p:nvCxnSpPr>
          <p:cNvPr id="13" name="Straight Arrow Connector 12"/>
          <p:cNvCxnSpPr>
            <a:cxnSpLocks/>
            <a:stCxn id="10" idx="3"/>
            <a:endCxn id="45" idx="1"/>
          </p:cNvCxnSpPr>
          <p:nvPr/>
        </p:nvCxnSpPr>
        <p:spPr>
          <a:xfrm>
            <a:off x="6777591" y="1993276"/>
            <a:ext cx="123513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6663439" y="1705320"/>
            <a:ext cx="5400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200" dirty="0"/>
              <a:t>nee</a:t>
            </a:r>
          </a:p>
        </p:txBody>
      </p:sp>
      <p:sp>
        <p:nvSpPr>
          <p:cNvPr id="38" name="Flowchart: Decision 37"/>
          <p:cNvSpPr/>
          <p:nvPr/>
        </p:nvSpPr>
        <p:spPr>
          <a:xfrm>
            <a:off x="7589789" y="3761588"/>
            <a:ext cx="2363235" cy="774086"/>
          </a:xfrm>
          <a:prstGeom prst="flowChartDecision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000" dirty="0"/>
              <a:t>Beroepsopleiding?</a:t>
            </a:r>
          </a:p>
          <a:p>
            <a:pPr algn="ctr"/>
            <a:r>
              <a:rPr lang="nl-NL" sz="1000" dirty="0"/>
              <a:t> (zie  </a:t>
            </a:r>
            <a:r>
              <a:rPr lang="nl-NL" sz="1000" dirty="0" err="1"/>
              <a:t>spec</a:t>
            </a:r>
            <a:r>
              <a:rPr lang="nl-NL" sz="1000" dirty="0"/>
              <a:t>.-blad)</a:t>
            </a:r>
          </a:p>
        </p:txBody>
      </p:sp>
      <p:sp>
        <p:nvSpPr>
          <p:cNvPr id="45" name="Flowchart: Alternate Process 44"/>
          <p:cNvSpPr/>
          <p:nvPr/>
        </p:nvSpPr>
        <p:spPr>
          <a:xfrm>
            <a:off x="8012721" y="1633236"/>
            <a:ext cx="1476225" cy="720080"/>
          </a:xfrm>
          <a:prstGeom prst="flowChartAlternateProcess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100" dirty="0"/>
              <a:t>Deelname niet mogelijk.</a:t>
            </a:r>
          </a:p>
          <a:p>
            <a:pPr algn="ctr"/>
            <a:r>
              <a:rPr lang="nl-NL" sz="1100" dirty="0"/>
              <a:t>Eerst diploma VCA Basis behalen</a:t>
            </a:r>
          </a:p>
        </p:txBody>
      </p:sp>
      <p:sp>
        <p:nvSpPr>
          <p:cNvPr id="47" name="Flowchart: Alternate Process 46"/>
          <p:cNvSpPr/>
          <p:nvPr/>
        </p:nvSpPr>
        <p:spPr>
          <a:xfrm>
            <a:off x="7968208" y="5961753"/>
            <a:ext cx="1606397" cy="720080"/>
          </a:xfrm>
          <a:prstGeom prst="flowChartAlternateProcess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100" dirty="0"/>
              <a:t>Inschrijving mogelijk op 5-dagdelen opleiding</a:t>
            </a:r>
          </a:p>
        </p:txBody>
      </p:sp>
      <p:sp>
        <p:nvSpPr>
          <p:cNvPr id="48" name="Flowchart: Alternate Process 47"/>
          <p:cNvSpPr/>
          <p:nvPr/>
        </p:nvSpPr>
        <p:spPr>
          <a:xfrm>
            <a:off x="5036999" y="6006015"/>
            <a:ext cx="1542296" cy="720080"/>
          </a:xfrm>
          <a:prstGeom prst="flowChartAlternateProcess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100" dirty="0"/>
              <a:t>Inschrijving mogelijk op 3 dagdelen opleiding</a:t>
            </a:r>
          </a:p>
        </p:txBody>
      </p:sp>
      <p:cxnSp>
        <p:nvCxnSpPr>
          <p:cNvPr id="51" name="Straight Arrow Connector 50"/>
          <p:cNvCxnSpPr>
            <a:stCxn id="9" idx="2"/>
            <a:endCxn id="10" idx="0"/>
          </p:cNvCxnSpPr>
          <p:nvPr/>
        </p:nvCxnSpPr>
        <p:spPr>
          <a:xfrm>
            <a:off x="5814484" y="1258173"/>
            <a:ext cx="0" cy="3480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Arrow Connector 56"/>
          <p:cNvCxnSpPr>
            <a:cxnSpLocks/>
            <a:stCxn id="38" idx="2"/>
          </p:cNvCxnSpPr>
          <p:nvPr/>
        </p:nvCxnSpPr>
        <p:spPr>
          <a:xfrm flipH="1">
            <a:off x="7788188" y="4535674"/>
            <a:ext cx="983219" cy="27853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TextBox 59"/>
          <p:cNvSpPr txBox="1"/>
          <p:nvPr/>
        </p:nvSpPr>
        <p:spPr>
          <a:xfrm>
            <a:off x="7640538" y="4537209"/>
            <a:ext cx="5400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200" dirty="0"/>
              <a:t>  ja</a:t>
            </a:r>
          </a:p>
        </p:txBody>
      </p:sp>
      <p:cxnSp>
        <p:nvCxnSpPr>
          <p:cNvPr id="62" name="Elbow Connector 61"/>
          <p:cNvCxnSpPr>
            <a:cxnSpLocks/>
            <a:stCxn id="38" idx="2"/>
            <a:endCxn id="47" idx="0"/>
          </p:cNvCxnSpPr>
          <p:nvPr/>
        </p:nvCxnSpPr>
        <p:spPr>
          <a:xfrm>
            <a:off x="8771407" y="4535674"/>
            <a:ext cx="0" cy="142607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Box 63"/>
          <p:cNvSpPr txBox="1"/>
          <p:nvPr/>
        </p:nvSpPr>
        <p:spPr>
          <a:xfrm>
            <a:off x="8735163" y="4615300"/>
            <a:ext cx="5400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200" dirty="0"/>
              <a:t>nee</a:t>
            </a:r>
          </a:p>
        </p:txBody>
      </p:sp>
      <p:sp>
        <p:nvSpPr>
          <p:cNvPr id="66" name="Flowchart: Decision 65"/>
          <p:cNvSpPr/>
          <p:nvPr/>
        </p:nvSpPr>
        <p:spPr>
          <a:xfrm>
            <a:off x="4933683" y="2680086"/>
            <a:ext cx="1748929" cy="774086"/>
          </a:xfrm>
          <a:prstGeom prst="flowChartDecision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000" dirty="0"/>
              <a:t>Diploma Gasmeten ?</a:t>
            </a:r>
          </a:p>
        </p:txBody>
      </p:sp>
      <p:sp>
        <p:nvSpPr>
          <p:cNvPr id="67" name="Flowchart: Decision 66"/>
          <p:cNvSpPr/>
          <p:nvPr/>
        </p:nvSpPr>
        <p:spPr>
          <a:xfrm>
            <a:off x="4942691" y="3805086"/>
            <a:ext cx="1755218" cy="774086"/>
          </a:xfrm>
          <a:prstGeom prst="flowChartDecision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000" dirty="0"/>
              <a:t>Diploma langer dan 1 jaar verlopen?</a:t>
            </a:r>
          </a:p>
        </p:txBody>
      </p:sp>
      <p:cxnSp>
        <p:nvCxnSpPr>
          <p:cNvPr id="71" name="Elbow Connector 70"/>
          <p:cNvCxnSpPr>
            <a:cxnSpLocks/>
            <a:stCxn id="66" idx="2"/>
            <a:endCxn id="67" idx="0"/>
          </p:cNvCxnSpPr>
          <p:nvPr/>
        </p:nvCxnSpPr>
        <p:spPr>
          <a:xfrm>
            <a:off x="5808148" y="3454172"/>
            <a:ext cx="0" cy="35091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/>
          <p:cNvSpPr txBox="1"/>
          <p:nvPr/>
        </p:nvSpPr>
        <p:spPr>
          <a:xfrm>
            <a:off x="5451382" y="3481175"/>
            <a:ext cx="5400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200" dirty="0"/>
              <a:t>ja</a:t>
            </a:r>
          </a:p>
        </p:txBody>
      </p:sp>
      <p:cxnSp>
        <p:nvCxnSpPr>
          <p:cNvPr id="79" name="Straight Arrow Connector 78"/>
          <p:cNvCxnSpPr>
            <a:cxnSpLocks/>
            <a:stCxn id="66" idx="2"/>
            <a:endCxn id="38" idx="0"/>
          </p:cNvCxnSpPr>
          <p:nvPr/>
        </p:nvCxnSpPr>
        <p:spPr>
          <a:xfrm>
            <a:off x="5808148" y="3454172"/>
            <a:ext cx="2963259" cy="30741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Arrow Connector 81"/>
          <p:cNvCxnSpPr>
            <a:cxnSpLocks/>
            <a:stCxn id="10" idx="2"/>
            <a:endCxn id="66" idx="0"/>
          </p:cNvCxnSpPr>
          <p:nvPr/>
        </p:nvCxnSpPr>
        <p:spPr>
          <a:xfrm flipH="1">
            <a:off x="5808148" y="2380319"/>
            <a:ext cx="6336" cy="29976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Flowchart: Alternate Process 84"/>
          <p:cNvSpPr/>
          <p:nvPr/>
        </p:nvSpPr>
        <p:spPr>
          <a:xfrm>
            <a:off x="2438625" y="5961753"/>
            <a:ext cx="1641151" cy="720080"/>
          </a:xfrm>
          <a:prstGeom prst="flowChartAlternateProcess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100" dirty="0"/>
              <a:t>Inschrijving mogelijk op 1,5 dagdeel-opleiding</a:t>
            </a:r>
          </a:p>
        </p:txBody>
      </p:sp>
      <p:sp>
        <p:nvSpPr>
          <p:cNvPr id="89" name="TextBox 88"/>
          <p:cNvSpPr txBox="1"/>
          <p:nvPr/>
        </p:nvSpPr>
        <p:spPr>
          <a:xfrm>
            <a:off x="4459543" y="5466767"/>
            <a:ext cx="5400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200" dirty="0"/>
              <a:t>ja</a:t>
            </a:r>
          </a:p>
        </p:txBody>
      </p:sp>
      <p:sp>
        <p:nvSpPr>
          <p:cNvPr id="90" name="TextBox 89"/>
          <p:cNvSpPr txBox="1"/>
          <p:nvPr/>
        </p:nvSpPr>
        <p:spPr>
          <a:xfrm>
            <a:off x="5440723" y="2361324"/>
            <a:ext cx="5400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200" dirty="0"/>
              <a:t>ja</a:t>
            </a:r>
          </a:p>
        </p:txBody>
      </p:sp>
      <p:cxnSp>
        <p:nvCxnSpPr>
          <p:cNvPr id="94" name="Straight Arrow Connector 93"/>
          <p:cNvCxnSpPr>
            <a:cxnSpLocks/>
            <a:stCxn id="67" idx="2"/>
          </p:cNvCxnSpPr>
          <p:nvPr/>
        </p:nvCxnSpPr>
        <p:spPr>
          <a:xfrm>
            <a:off x="5820300" y="4579172"/>
            <a:ext cx="0" cy="14338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TextBox 100"/>
          <p:cNvSpPr txBox="1"/>
          <p:nvPr/>
        </p:nvSpPr>
        <p:spPr>
          <a:xfrm>
            <a:off x="443372" y="188640"/>
            <a:ext cx="363640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dirty="0"/>
              <a:t>Processtappen opleider bij kandidaat inschrijving opleiding</a:t>
            </a:r>
          </a:p>
        </p:txBody>
      </p:sp>
      <p:sp>
        <p:nvSpPr>
          <p:cNvPr id="86" name="TextBox 63">
            <a:extLst>
              <a:ext uri="{FF2B5EF4-FFF2-40B4-BE49-F238E27FC236}">
                <a16:creationId xmlns:a16="http://schemas.microsoft.com/office/drawing/2014/main" id="{A45C14E9-C50C-4311-958A-D6A09DD5E520}"/>
              </a:ext>
            </a:extLst>
          </p:cNvPr>
          <p:cNvSpPr txBox="1"/>
          <p:nvPr/>
        </p:nvSpPr>
        <p:spPr>
          <a:xfrm>
            <a:off x="7017017" y="3315672"/>
            <a:ext cx="5400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200" dirty="0"/>
              <a:t>nee</a:t>
            </a:r>
          </a:p>
        </p:txBody>
      </p:sp>
      <p:sp>
        <p:nvSpPr>
          <p:cNvPr id="96" name="TextBox 59">
            <a:extLst>
              <a:ext uri="{FF2B5EF4-FFF2-40B4-BE49-F238E27FC236}">
                <a16:creationId xmlns:a16="http://schemas.microsoft.com/office/drawing/2014/main" id="{1533CFCC-1772-4272-AA55-FC888E9A82BC}"/>
              </a:ext>
            </a:extLst>
          </p:cNvPr>
          <p:cNvSpPr txBox="1"/>
          <p:nvPr/>
        </p:nvSpPr>
        <p:spPr>
          <a:xfrm>
            <a:off x="4823450" y="4725374"/>
            <a:ext cx="5400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200" dirty="0"/>
              <a:t>nee</a:t>
            </a:r>
          </a:p>
        </p:txBody>
      </p:sp>
      <p:sp>
        <p:nvSpPr>
          <p:cNvPr id="31" name="Flowchart: Decision 30">
            <a:extLst>
              <a:ext uri="{FF2B5EF4-FFF2-40B4-BE49-F238E27FC236}">
                <a16:creationId xmlns:a16="http://schemas.microsoft.com/office/drawing/2014/main" id="{3BA4860E-6059-4DA6-826E-7051C21136B9}"/>
              </a:ext>
            </a:extLst>
          </p:cNvPr>
          <p:cNvSpPr/>
          <p:nvPr/>
        </p:nvSpPr>
        <p:spPr>
          <a:xfrm>
            <a:off x="6310485" y="4622671"/>
            <a:ext cx="2138283" cy="1021940"/>
          </a:xfrm>
          <a:prstGeom prst="flowChartDecision">
            <a:avLst/>
          </a:prstGeom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1000" dirty="0"/>
              <a:t> ervaring met gasmetingen</a:t>
            </a: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AC33EDA4-F247-4355-BA3E-2596DA2AB69A}"/>
              </a:ext>
            </a:extLst>
          </p:cNvPr>
          <p:cNvCxnSpPr>
            <a:cxnSpLocks/>
            <a:stCxn id="31" idx="2"/>
            <a:endCxn id="48" idx="0"/>
          </p:cNvCxnSpPr>
          <p:nvPr/>
        </p:nvCxnSpPr>
        <p:spPr>
          <a:xfrm flipH="1">
            <a:off x="5808147" y="5644611"/>
            <a:ext cx="1571480" cy="36140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59">
            <a:extLst>
              <a:ext uri="{FF2B5EF4-FFF2-40B4-BE49-F238E27FC236}">
                <a16:creationId xmlns:a16="http://schemas.microsoft.com/office/drawing/2014/main" id="{5ED74DBB-EADB-40E1-BA87-A88FFB554F5B}"/>
              </a:ext>
            </a:extLst>
          </p:cNvPr>
          <p:cNvSpPr txBox="1"/>
          <p:nvPr/>
        </p:nvSpPr>
        <p:spPr>
          <a:xfrm>
            <a:off x="6516562" y="5688872"/>
            <a:ext cx="5400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200" dirty="0"/>
              <a:t>nee</a:t>
            </a:r>
          </a:p>
        </p:txBody>
      </p:sp>
      <p:sp>
        <p:nvSpPr>
          <p:cNvPr id="53" name="TextBox 59">
            <a:extLst>
              <a:ext uri="{FF2B5EF4-FFF2-40B4-BE49-F238E27FC236}">
                <a16:creationId xmlns:a16="http://schemas.microsoft.com/office/drawing/2014/main" id="{F6C5AF50-9164-42F5-A9B5-E1F335949ED6}"/>
              </a:ext>
            </a:extLst>
          </p:cNvPr>
          <p:cNvSpPr txBox="1"/>
          <p:nvPr/>
        </p:nvSpPr>
        <p:spPr>
          <a:xfrm>
            <a:off x="5440723" y="5030898"/>
            <a:ext cx="54006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200" dirty="0"/>
              <a:t>ja</a:t>
            </a:r>
          </a:p>
        </p:txBody>
      </p:sp>
      <p:cxnSp>
        <p:nvCxnSpPr>
          <p:cNvPr id="46" name="Straight Arrow Connector 45">
            <a:extLst>
              <a:ext uri="{FF2B5EF4-FFF2-40B4-BE49-F238E27FC236}">
                <a16:creationId xmlns:a16="http://schemas.microsoft.com/office/drawing/2014/main" id="{E72E42B0-2B35-41F8-8EEB-C0F80F811232}"/>
              </a:ext>
            </a:extLst>
          </p:cNvPr>
          <p:cNvCxnSpPr>
            <a:cxnSpLocks/>
            <a:stCxn id="67" idx="2"/>
          </p:cNvCxnSpPr>
          <p:nvPr/>
        </p:nvCxnSpPr>
        <p:spPr>
          <a:xfrm flipH="1">
            <a:off x="3235735" y="4579172"/>
            <a:ext cx="2584565" cy="131117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Afbeelding 5">
            <a:extLst>
              <a:ext uri="{FF2B5EF4-FFF2-40B4-BE49-F238E27FC236}">
                <a16:creationId xmlns:a16="http://schemas.microsoft.com/office/drawing/2014/main" id="{0FE26685-10D0-45E2-A339-A08CC66B1D0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16000" y="0"/>
            <a:ext cx="2376000" cy="9243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89041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9A848EF984D654CA95B357E4D03A31F" ma:contentTypeVersion="7" ma:contentTypeDescription="Een nieuw document maken." ma:contentTypeScope="" ma:versionID="9591494830843e1159474af35e8bc2ad">
  <xsd:schema xmlns:xsd="http://www.w3.org/2001/XMLSchema" xmlns:xs="http://www.w3.org/2001/XMLSchema" xmlns:p="http://schemas.microsoft.com/office/2006/metadata/properties" xmlns:ns2="b7d37423-fee6-4cee-9108-1292cfcb5baa" xmlns:ns3="4d93cbd7-93ec-48e1-95d5-6edae6f1120c" targetNamespace="http://schemas.microsoft.com/office/2006/metadata/properties" ma:root="true" ma:fieldsID="9db7e9863e057f43394b34dcfc7eeeac" ns2:_="" ns3:_="">
    <xsd:import namespace="b7d37423-fee6-4cee-9108-1292cfcb5baa"/>
    <xsd:import namespace="4d93cbd7-93ec-48e1-95d5-6edae6f1120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DateTaken" minOccurs="0"/>
                <xsd:element ref="ns3:SharedWithUsers" minOccurs="0"/>
                <xsd:element ref="ns3:SharedWithDetails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d37423-fee6-4cee-9108-1292cfcb5ba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description="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d93cbd7-93ec-48e1-95d5-6edae6f1120c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B551EADB-7328-4B72-BC46-66F6F1228FF8}"/>
</file>

<file path=customXml/itemProps2.xml><?xml version="1.0" encoding="utf-8"?>
<ds:datastoreItem xmlns:ds="http://schemas.openxmlformats.org/officeDocument/2006/customXml" ds:itemID="{7305FBD5-16B9-4D37-A73E-D6F87279426C}"/>
</file>

<file path=customXml/itemProps3.xml><?xml version="1.0" encoding="utf-8"?>
<ds:datastoreItem xmlns:ds="http://schemas.openxmlformats.org/officeDocument/2006/customXml" ds:itemID="{2CFC4EA7-8C02-4026-B985-A57D811C7A05}"/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26</TotalTime>
  <Words>75</Words>
  <Application>Microsoft Office PowerPoint</Application>
  <PresentationFormat>Breedbeeld</PresentationFormat>
  <Paragraphs>23</Paragraphs>
  <Slides>1</Slides>
  <Notes>0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3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think-cell Slide</vt:lpstr>
      <vt:lpstr>PowerPoint-presentatie</vt:lpstr>
    </vt:vector>
  </TitlesOfParts>
  <Company>Draeg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oolenbroek, Hans van</dc:creator>
  <cp:lastModifiedBy>Ineke Koornstra</cp:lastModifiedBy>
  <cp:revision>32</cp:revision>
  <dcterms:created xsi:type="dcterms:W3CDTF">2018-06-26T10:01:12Z</dcterms:created>
  <dcterms:modified xsi:type="dcterms:W3CDTF">2018-10-25T12:32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9A848EF984D654CA95B357E4D03A31F</vt:lpwstr>
  </property>
</Properties>
</file>